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</p:sldMasterIdLst>
  <p:notesMasterIdLst>
    <p:notesMasterId r:id="rId13"/>
  </p:notesMasterIdLst>
  <p:handoutMasterIdLst>
    <p:handoutMasterId r:id="rId14"/>
  </p:handoutMasterIdLst>
  <p:sldIdLst>
    <p:sldId id="273" r:id="rId2"/>
    <p:sldId id="403" r:id="rId3"/>
    <p:sldId id="419" r:id="rId4"/>
    <p:sldId id="418" r:id="rId5"/>
    <p:sldId id="420" r:id="rId6"/>
    <p:sldId id="423" r:id="rId7"/>
    <p:sldId id="424" r:id="rId8"/>
    <p:sldId id="421" r:id="rId9"/>
    <p:sldId id="425" r:id="rId10"/>
    <p:sldId id="408" r:id="rId11"/>
    <p:sldId id="412" r:id="rId12"/>
  </p:sldIdLst>
  <p:sldSz cx="9906000" cy="6858000" type="A4"/>
  <p:notesSz cx="6797675" cy="9928225"/>
  <p:custDataLst>
    <p:tags r:id="rId1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87" d="100"/>
          <a:sy n="87" d="100"/>
        </p:scale>
        <p:origin x="-1332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17.08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17.08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966140" y="5617774"/>
            <a:ext cx="7998180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72449" y="1016990"/>
            <a:ext cx="7778044" cy="4831643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1073151" y="1009651"/>
            <a:ext cx="7778044" cy="4831643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833648" y="702069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8533674" y="726098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1134" y="1794935"/>
            <a:ext cx="6200424" cy="1828090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1134" y="3736622"/>
            <a:ext cx="6188194" cy="1524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34899" y="535759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71882" y="5357593"/>
            <a:ext cx="5454415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58" y="5357593"/>
            <a:ext cx="600192" cy="3651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2" y="925691"/>
            <a:ext cx="1550106" cy="476391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06407" y="1106313"/>
            <a:ext cx="5610344" cy="440266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5394" y="2239431"/>
            <a:ext cx="6775214" cy="1362075"/>
          </a:xfrm>
        </p:spPr>
        <p:txBody>
          <a:bodyPr anchor="b"/>
          <a:lstStyle>
            <a:lvl1pPr algn="ctr">
              <a:defRPr sz="4000" b="0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77623" y="3725335"/>
            <a:ext cx="6750756" cy="1309511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406652" y="2121407"/>
            <a:ext cx="3467100" cy="360273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052060" y="2119313"/>
            <a:ext cx="3467100" cy="3605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87692" y="2122312"/>
            <a:ext cx="3184481" cy="820208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19891" y="2122311"/>
            <a:ext cx="3189732" cy="822960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406652" y="2944368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032247" y="2944813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Freeform 1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rot="60000">
            <a:off x="4844035" y="603504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 rot="21540000">
            <a:off x="812293" y="576072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9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201391" y="2020043"/>
            <a:ext cx="3320229" cy="1503037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60000">
            <a:off x="5258815" y="1150993"/>
            <a:ext cx="3272525" cy="4625489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3803" y="3623748"/>
            <a:ext cx="3302965" cy="2100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0173" y="588567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67" y="5829262"/>
            <a:ext cx="3816158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87089" y="5896962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Freeform 3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07147" y="575769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 rot="60000">
            <a:off x="4836833" y="603920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5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98626" y="2020824"/>
            <a:ext cx="3318510" cy="1499616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60000">
            <a:off x="5306833" y="1207272"/>
            <a:ext cx="3156685" cy="4539412"/>
          </a:xfrm>
          <a:ln w="101600" cap="rnd">
            <a:solidFill>
              <a:srgbClr val="FFFFFF"/>
            </a:solidFill>
          </a:ln>
          <a:effectLst>
            <a:outerShdw blurRad="889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8156" y="3621024"/>
            <a:ext cx="3298698" cy="210312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4764" y="5888738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84" y="5831038"/>
            <a:ext cx="3595630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92263" y="5900027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681038" y="6069330"/>
            <a:ext cx="8581074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92480" y="575310"/>
            <a:ext cx="8337550" cy="5715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92480" y="576072"/>
            <a:ext cx="8337550" cy="5715000"/>
          </a:xfrm>
          <a:prstGeom prst="rect">
            <a:avLst/>
          </a:prstGeom>
          <a:blipFill dpi="0" rotWithShape="1">
            <a:blip r:embed="rId16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1435684">
            <a:off x="589053" y="273091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4096196">
            <a:off x="8814958" y="274541"/>
            <a:ext cx="566928" cy="614172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6276" y="817583"/>
            <a:ext cx="7545682" cy="1202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4961" y="2119257"/>
            <a:ext cx="6712772" cy="36038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92471" y="5809153"/>
            <a:ext cx="1314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17.08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1" y="5809153"/>
            <a:ext cx="60018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9386" y="5809153"/>
            <a:ext cx="6001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Слайд think-cell" r:id="rId18" imgW="443" imgH="443" progId="TCLayout.ActiveDocument.1">
                  <p:embed/>
                </p:oleObj>
              </mc:Choice>
              <mc:Fallback>
                <p:oleObj name="Слайд think-cell" r:id="rId18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2.xml"/><Relationship Id="rId3" Type="http://schemas.openxmlformats.org/officeDocument/2006/relationships/tags" Target="../tags/tag23.xml"/><Relationship Id="rId7" Type="http://schemas.openxmlformats.org/officeDocument/2006/relationships/oleObject" Target="../embeddings/oleObject11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7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10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12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11.jpeg"/><Relationship Id="rId2" Type="http://schemas.openxmlformats.org/officeDocument/2006/relationships/tags" Target="../tags/tag8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9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1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6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88904" y="130282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704528" y="386878"/>
            <a:ext cx="8514566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87559" y="521502"/>
            <a:ext cx="90730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48544" y="2529677"/>
            <a:ext cx="826536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«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48544" y="5669730"/>
            <a:ext cx="82653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 августа 2022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4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1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3999" y="580526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5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9581" y="-19534"/>
              <a:ext cx="4315393" cy="1253196"/>
              <a:chOff x="39581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9581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9649" y="585929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308532" y="761781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</a:t>
            </a:r>
            <a:r>
              <a:rPr kumimoji="0" lang="ru-RU" sz="2000" b="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 АНКЕТЕ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15" name="Picture 3" descr="C:\Users\derksenod\Desktop\Подготовка к публичному меропр - 3\Доклад Веселова\для подготовки\1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9908" y="961836"/>
            <a:ext cx="4094719" cy="5283995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640632" y="5072725"/>
            <a:ext cx="34094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/>
              <a:t>discussions@gosnadzor42.ru</a:t>
            </a:r>
            <a:endParaRPr lang="ru-RU" sz="2000" dirty="0"/>
          </a:p>
        </p:txBody>
      </p:sp>
      <p:pic>
        <p:nvPicPr>
          <p:cNvPr id="16" name="Picture 2" descr="C:\Users\derksenod\Desktop\Подготовка к публичному меропр - 3\Доклад Веселова\для подготовки\image_image_286562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9384" y="5589240"/>
            <a:ext cx="1331533" cy="116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1" name="Picture 9" descr="https://clipart-best.com/img/email/email-clip-art-4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32" y="4830431"/>
            <a:ext cx="1021472" cy="101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20552" y="1237541"/>
            <a:ext cx="353714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Образец </a:t>
            </a:r>
            <a:r>
              <a:rPr lang="ru-RU" sz="2000" b="0" dirty="0">
                <a:latin typeface="Arial Narrow" panose="020B0606020202030204" pitchFamily="34" charset="0"/>
              </a:rPr>
              <a:t>анкеты участника публичного обсуждения размещен </a:t>
            </a:r>
            <a:r>
              <a:rPr lang="ru-RU" sz="2000" b="0" dirty="0" smtClean="0">
                <a:latin typeface="Arial Narrow" panose="020B0606020202030204" pitchFamily="34" charset="0"/>
              </a:rPr>
              <a:t>на </a:t>
            </a:r>
            <a:r>
              <a:rPr lang="ru-RU" sz="2000" b="0" dirty="0">
                <a:latin typeface="Arial Narrow" panose="020B0606020202030204" pitchFamily="34" charset="0"/>
              </a:rPr>
              <a:t>официальном сайте Сибирского управления Ростехнадзора 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68980" y="2866651"/>
            <a:ext cx="47810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0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929927" y="3903173"/>
            <a:ext cx="32965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Адрес электронной почты для отправки заполненных анкет участника:</a:t>
            </a:r>
            <a:endParaRPr lang="ru-RU" sz="2000" b="0" dirty="0"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920552" y="3790157"/>
            <a:ext cx="38976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2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99468" y="1412777"/>
            <a:ext cx="761593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ІІ квартал 2022 года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 </a:t>
            </a:r>
            <a:r>
              <a:rPr lang="ru-RU" sz="2000" dirty="0">
                <a:latin typeface="Arial Narrow" panose="020B0606020202030204" pitchFamily="34" charset="0"/>
              </a:rPr>
              <a:t>правоприменительной практике Сибирского управления Ростехнадзора на объектах трубопроводного транспорта, </a:t>
            </a:r>
            <a:r>
              <a:rPr lang="ru-RU" sz="2000" dirty="0" err="1">
                <a:latin typeface="Arial Narrow" panose="020B0606020202030204" pitchFamily="34" charset="0"/>
              </a:rPr>
              <a:t>газопотребления</a:t>
            </a:r>
            <a:r>
              <a:rPr lang="ru-RU" sz="2000" dirty="0">
                <a:latin typeface="Arial Narrow" panose="020B0606020202030204" pitchFamily="34" charset="0"/>
              </a:rPr>
              <a:t> и газораспределения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 </a:t>
            </a:r>
            <a:r>
              <a:rPr lang="ru-RU" sz="2000" dirty="0">
                <a:latin typeface="Arial Narrow" panose="020B0606020202030204" pitchFamily="34" charset="0"/>
              </a:rPr>
              <a:t>полномочиях Сибирского управления Ростехнадзора по приемке в эксплуатацию объектов газораспределения и </a:t>
            </a:r>
            <a:r>
              <a:rPr lang="ru-RU" sz="2000" dirty="0" err="1">
                <a:latin typeface="Arial Narrow" panose="020B0606020202030204" pitchFamily="34" charset="0"/>
              </a:rPr>
              <a:t>газопотребления</a:t>
            </a:r>
            <a:r>
              <a:rPr lang="ru-RU" sz="2000" dirty="0">
                <a:latin typeface="Arial Narrow" panose="020B0606020202030204" pitchFamily="34" charset="0"/>
              </a:rPr>
              <a:t> при завершении строительных и монтажных работ  либо реконструкции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б </a:t>
            </a:r>
            <a:r>
              <a:rPr lang="ru-RU" sz="2000" dirty="0">
                <a:latin typeface="Arial Narrow" panose="020B0606020202030204" pitchFamily="34" charset="0"/>
              </a:rPr>
              <a:t>основных нарушениях, выявляемых Сибирским управлением Ростехнадзора при осуществлении государственного надзора за строительством и реконструкцией магистральных трубопроводов</a:t>
            </a:r>
            <a:endParaRPr lang="ru-RU" sz="2000" dirty="0" smtClean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412777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275012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350100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528" y="472514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9" y="64193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19" y="591628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" y="1320655"/>
            <a:ext cx="9129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0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5663007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1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7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836"/>
            <a:ext cx="8915400" cy="1150378"/>
            <a:chOff x="35496" y="36949"/>
            <a:chExt cx="9107488" cy="1196713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10245" y="36949"/>
              <a:ext cx="4315393" cy="1196713"/>
              <a:chOff x="110245" y="36949"/>
              <a:chExt cx="4315393" cy="1196713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10245" y="36949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4960" y="592195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23556" y="2016264"/>
            <a:ext cx="5182616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844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и, осуществляющие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12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производствен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7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21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коло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6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460104"/>
              </p:ext>
            </p:extLst>
          </p:nvPr>
        </p:nvGraphicFramePr>
        <p:xfrm>
          <a:off x="3512840" y="5594491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2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34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97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791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5663" name="Picture 63" descr="https://vsednr.ru/wp-content/uploads/2021/04/ochistnoy-zabo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1233214"/>
            <a:ext cx="2758789" cy="18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65" name="Picture 65" descr="https://img-fotki.yandex.ru/get/6814/51604349.144/0_bf9ba_64df8e6c_ori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3060155"/>
            <a:ext cx="2758789" cy="205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6" y="5133086"/>
            <a:ext cx="2782602" cy="157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46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5825384"/>
              </p:ext>
            </p:extLst>
          </p:nvPr>
        </p:nvGraphicFramePr>
        <p:xfrm>
          <a:off x="784045" y="1233214"/>
          <a:ext cx="8345418" cy="4826806"/>
        </p:xfrm>
        <a:graphic>
          <a:graphicData uri="http://schemas.openxmlformats.org/drawingml/2006/table">
            <a:tbl>
              <a:tblPr/>
              <a:tblGrid>
                <a:gridCol w="413910"/>
                <a:gridCol w="4239254"/>
                <a:gridCol w="1094001"/>
                <a:gridCol w="974988"/>
                <a:gridCol w="951268"/>
                <a:gridCol w="671997"/>
              </a:tblGrid>
              <a:tr h="4133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ей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с. 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1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с. 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2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±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1/202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±  %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70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9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4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1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0843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выявленных нарушений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24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0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4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0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33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административных наказаний, в том числе: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33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й штраф, кол-во наложенных штрафов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8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4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084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штрафов (тыс. руб.)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4082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4689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9393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4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штрафов (тыс. руб.)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3135,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0855,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2280,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1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3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ое приостановление деятельности 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4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289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я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4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100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е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76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8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2138013"/>
              </p:ext>
            </p:extLst>
          </p:nvPr>
        </p:nvGraphicFramePr>
        <p:xfrm>
          <a:off x="784046" y="1385502"/>
          <a:ext cx="8345418" cy="4423959"/>
        </p:xfrm>
        <a:graphic>
          <a:graphicData uri="http://schemas.openxmlformats.org/drawingml/2006/table">
            <a:tbl>
              <a:tblPr/>
              <a:tblGrid>
                <a:gridCol w="531482"/>
                <a:gridCol w="3160693"/>
                <a:gridCol w="1668144"/>
                <a:gridCol w="1580347"/>
                <a:gridCol w="1404752"/>
              </a:tblGrid>
              <a:tr h="8211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ей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осударственный энергетический 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осударственный строительный 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дзор за гидротехническими сооружениями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50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2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35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26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1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3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40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6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ле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12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ле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77,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446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10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1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03802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</a:t>
            </a: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и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существлении государственного надзора в сфере промышленной безопасности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0886832"/>
              </p:ext>
            </p:extLst>
          </p:nvPr>
        </p:nvGraphicFramePr>
        <p:xfrm>
          <a:off x="784046" y="1628800"/>
          <a:ext cx="8345417" cy="4629564"/>
        </p:xfrm>
        <a:graphic>
          <a:graphicData uri="http://schemas.openxmlformats.org/drawingml/2006/table">
            <a:tbl>
              <a:tblPr/>
              <a:tblGrid>
                <a:gridCol w="356614"/>
                <a:gridCol w="1472519"/>
                <a:gridCol w="589002"/>
                <a:gridCol w="477165"/>
                <a:gridCol w="477165"/>
                <a:gridCol w="335507"/>
                <a:gridCol w="347933"/>
                <a:gridCol w="350418"/>
                <a:gridCol w="357873"/>
                <a:gridCol w="357873"/>
                <a:gridCol w="318110"/>
                <a:gridCol w="318110"/>
                <a:gridCol w="357873"/>
                <a:gridCol w="357873"/>
                <a:gridCol w="367814"/>
                <a:gridCol w="365330"/>
                <a:gridCol w="407580"/>
                <a:gridCol w="410063"/>
                <a:gridCol w="320595"/>
              </a:tblGrid>
              <a:tr h="27692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сего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6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 видам надзора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79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П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3771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55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65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2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585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0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2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4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тыс.рублей)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2140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9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3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90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3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342593"/>
            <a:ext cx="8208912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ru-RU" sz="2000" b="0" u="sng" dirty="0" smtClean="0"/>
              <a:t>6 месяцев </a:t>
            </a:r>
            <a:r>
              <a:rPr lang="ru-RU" sz="2000" b="0" u="sng" dirty="0"/>
              <a:t>2022 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endParaRPr lang="ru-RU" sz="2000" b="0" dirty="0"/>
          </a:p>
          <a:p>
            <a:r>
              <a:rPr lang="ru-RU" sz="1600" b="0" dirty="0"/>
              <a:t>1. 22.01.2022 - ООО </a:t>
            </a:r>
            <a:r>
              <a:rPr lang="ru-RU" sz="1600" b="0" dirty="0" smtClean="0"/>
              <a:t>«Шахта «</a:t>
            </a:r>
            <a:r>
              <a:rPr lang="ru-RU" sz="1600" b="0" dirty="0" err="1" smtClean="0"/>
              <a:t>Осинниковская</a:t>
            </a:r>
            <a:r>
              <a:rPr lang="ru-RU" sz="1600" b="0" dirty="0" smtClean="0"/>
              <a:t>», г</a:t>
            </a:r>
            <a:r>
              <a:rPr lang="ru-RU" sz="1600" b="0" dirty="0"/>
              <a:t>. Осинники, удар козырьком секции механизированной крепи - 1 </a:t>
            </a:r>
            <a:r>
              <a:rPr lang="ru-RU" sz="1600" b="0" dirty="0" smtClean="0"/>
              <a:t>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2. 10.03.2022 </a:t>
            </a:r>
            <a:r>
              <a:rPr lang="ru-RU" sz="1600" b="0" dirty="0" smtClean="0"/>
              <a:t>- </a:t>
            </a:r>
            <a:r>
              <a:rPr lang="ru-RU" sz="1600" b="0" dirty="0"/>
              <a:t>АО «ЕВРАЗ ЗСМК», </a:t>
            </a:r>
            <a:r>
              <a:rPr lang="ru-RU" sz="1600" b="0" dirty="0" smtClean="0"/>
              <a:t>г</a:t>
            </a:r>
            <a:r>
              <a:rPr lang="ru-RU" sz="1600" b="0" dirty="0"/>
              <a:t>. Новокузнецк, прижимание электровозом к колонне </a:t>
            </a:r>
            <a:r>
              <a:rPr lang="ru-RU" sz="1600" b="0" dirty="0" smtClean="0"/>
              <a:t>-</a:t>
            </a:r>
          </a:p>
          <a:p>
            <a:r>
              <a:rPr lang="ru-RU" sz="1600" b="0" dirty="0" smtClean="0"/>
              <a:t>1 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3. 24.03.2022 - ООО </a:t>
            </a:r>
            <a:r>
              <a:rPr lang="ru-RU" sz="1600" b="0" dirty="0" smtClean="0"/>
              <a:t>«Шахта «</a:t>
            </a:r>
            <a:r>
              <a:rPr lang="ru-RU" sz="1600" b="0" dirty="0" err="1" smtClean="0"/>
              <a:t>Осинниковская</a:t>
            </a:r>
            <a:r>
              <a:rPr lang="ru-RU" sz="1600" b="0" dirty="0" smtClean="0"/>
              <a:t>», г</a:t>
            </a:r>
            <a:r>
              <a:rPr lang="ru-RU" sz="1600" b="0" dirty="0"/>
              <a:t>. Осинники, выдавливание угля с повышенным выделением метана - 1 </a:t>
            </a:r>
            <a:r>
              <a:rPr lang="ru-RU" sz="1600" b="0" dirty="0" smtClean="0"/>
              <a:t>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4. 25.04.2022 - АО «ОУК </a:t>
            </a:r>
            <a:r>
              <a:rPr lang="ru-RU" sz="1600" b="0" dirty="0" err="1"/>
              <a:t>Южкузбассуголь</a:t>
            </a:r>
            <a:r>
              <a:rPr lang="ru-RU" sz="1600" b="0" dirty="0"/>
              <a:t>» Филиал «Шахта </a:t>
            </a:r>
            <a:r>
              <a:rPr lang="ru-RU" sz="1600" b="0" dirty="0" smtClean="0"/>
              <a:t>Ерунаковская-8», </a:t>
            </a:r>
          </a:p>
          <a:p>
            <a:r>
              <a:rPr lang="ru-RU" sz="1600" b="0" dirty="0" smtClean="0"/>
              <a:t>г</a:t>
            </a:r>
            <a:r>
              <a:rPr lang="ru-RU" sz="1600" b="0" dirty="0"/>
              <a:t>. </a:t>
            </a:r>
            <a:r>
              <a:rPr lang="ru-RU" sz="1600" b="0" dirty="0" smtClean="0"/>
              <a:t>Новокузнецк, </a:t>
            </a:r>
            <a:r>
              <a:rPr lang="ru-RU" sz="1600" b="0" dirty="0"/>
              <a:t>прорыв воды, пульпы на транспортном уклоне </a:t>
            </a:r>
            <a:r>
              <a:rPr lang="ru-RU" sz="1600" b="0" dirty="0" smtClean="0"/>
              <a:t>- </a:t>
            </a:r>
            <a:r>
              <a:rPr lang="ru-RU" sz="1600" b="0" dirty="0"/>
              <a:t>1 </a:t>
            </a:r>
            <a:r>
              <a:rPr lang="ru-RU" sz="1600" b="0" dirty="0" smtClean="0"/>
              <a:t>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5. 08.05.2022 в ООО «</a:t>
            </a:r>
            <a:r>
              <a:rPr lang="ru-RU" sz="1600" b="0" dirty="0" err="1"/>
              <a:t>Техногазсервис</a:t>
            </a:r>
            <a:r>
              <a:rPr lang="ru-RU" sz="1600" b="0" dirty="0"/>
              <a:t>» на ОПО «станция газозаправочная автомобильная</a:t>
            </a:r>
            <a:r>
              <a:rPr lang="ru-RU" sz="1600" b="0" dirty="0" smtClean="0"/>
              <a:t>»,</a:t>
            </a:r>
          </a:p>
          <a:p>
            <a:r>
              <a:rPr lang="ru-RU" sz="1600" b="0" dirty="0" smtClean="0"/>
              <a:t>г</a:t>
            </a:r>
            <a:r>
              <a:rPr lang="ru-RU" sz="1600" b="0" dirty="0"/>
              <a:t>. </a:t>
            </a:r>
            <a:r>
              <a:rPr lang="ru-RU" sz="1600" b="0" dirty="0" smtClean="0"/>
              <a:t>Новоалтайск, </a:t>
            </a:r>
            <a:r>
              <a:rPr lang="ru-RU" sz="1600" b="0" dirty="0"/>
              <a:t>произошло воспламенение газовой смеси с </a:t>
            </a:r>
            <a:r>
              <a:rPr lang="ru-RU" sz="1600" b="0" dirty="0" smtClean="0"/>
              <a:t>последующим </a:t>
            </a:r>
            <a:r>
              <a:rPr lang="ru-RU" sz="1600" b="0" dirty="0"/>
              <a:t>взрывом газовых баллонов - 1 </a:t>
            </a:r>
            <a:r>
              <a:rPr lang="ru-RU" sz="1600" b="0" dirty="0" smtClean="0"/>
              <a:t>смертельный;</a:t>
            </a:r>
          </a:p>
          <a:p>
            <a:endParaRPr lang="ru-RU" sz="800" b="0" dirty="0"/>
          </a:p>
          <a:p>
            <a:r>
              <a:rPr lang="ru-RU" sz="1600" b="0" dirty="0"/>
              <a:t>6. 10.05.2022 в ООО СП «</a:t>
            </a:r>
            <a:r>
              <a:rPr lang="ru-RU" sz="1600" b="0" dirty="0" err="1"/>
              <a:t>Барзасское</a:t>
            </a:r>
            <a:r>
              <a:rPr lang="ru-RU" sz="1600" b="0" dirty="0"/>
              <a:t> товарищество» на ОПО «разрез угольный» участок «Гусинский </a:t>
            </a:r>
            <a:r>
              <a:rPr lang="ru-RU" sz="1600" b="0" dirty="0" smtClean="0"/>
              <a:t>Южный», г</a:t>
            </a:r>
            <a:r>
              <a:rPr lang="ru-RU" sz="1600" b="0" dirty="0"/>
              <a:t>. </a:t>
            </a:r>
            <a:r>
              <a:rPr lang="ru-RU" sz="1600" b="0" dirty="0" smtClean="0"/>
              <a:t>Березовский, </a:t>
            </a:r>
            <a:r>
              <a:rPr lang="ru-RU" sz="1600" b="0" dirty="0"/>
              <a:t>произошло опрокидывание автомобиля БЕЛАЗ с уступа высотой 40 метров - 1 смертельный</a:t>
            </a:r>
            <a:r>
              <a:rPr lang="ru-RU" sz="1600" b="0" dirty="0" smtClean="0"/>
              <a:t>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8215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24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09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16771" y="1340768"/>
            <a:ext cx="831269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 smtClean="0"/>
              <a:t>Аварии </a:t>
            </a:r>
            <a:r>
              <a:rPr lang="ru-RU" sz="2000" b="0" u="sng" dirty="0"/>
              <a:t>за </a:t>
            </a:r>
            <a:r>
              <a:rPr lang="ru-RU" sz="2000" b="0" u="sng" dirty="0" smtClean="0"/>
              <a:t>6 месяцев </a:t>
            </a:r>
            <a:r>
              <a:rPr lang="ru-RU" sz="2000" b="0" u="sng" dirty="0"/>
              <a:t>2022 г</a:t>
            </a:r>
            <a:r>
              <a:rPr lang="ru-RU" sz="2000" b="0" u="sng" dirty="0" smtClean="0"/>
              <a:t>.:</a:t>
            </a:r>
          </a:p>
          <a:p>
            <a:endParaRPr lang="ru-RU" sz="2000" b="0" dirty="0"/>
          </a:p>
          <a:p>
            <a:r>
              <a:rPr lang="ru-RU" sz="1600" b="0" dirty="0" smtClean="0"/>
              <a:t>1. 18.02.2022 </a:t>
            </a:r>
            <a:r>
              <a:rPr lang="ru-RU" sz="1600" b="0" dirty="0"/>
              <a:t>– АО «РУСАЛ», Новокузнецкий Алюминиевый завод, Кем. обл., </a:t>
            </a:r>
            <a:endParaRPr lang="ru-RU" sz="1600" b="0" dirty="0" smtClean="0"/>
          </a:p>
          <a:p>
            <a:r>
              <a:rPr lang="ru-RU" sz="1600" b="0" dirty="0" smtClean="0"/>
              <a:t>г</a:t>
            </a:r>
            <a:r>
              <a:rPr lang="ru-RU" sz="1600" b="0" dirty="0"/>
              <a:t>. Новокузнецк, обесточена нагрузка величиной 146 МВт, пострадавших нет</a:t>
            </a:r>
            <a:r>
              <a:rPr lang="ru-RU" sz="1600" b="0" dirty="0" smtClean="0"/>
              <a:t>.</a:t>
            </a:r>
          </a:p>
          <a:p>
            <a:endParaRPr lang="ru-RU" sz="1600" b="0" dirty="0"/>
          </a:p>
          <a:p>
            <a:r>
              <a:rPr lang="ru-RU" sz="1600" b="0" dirty="0"/>
              <a:t>2. 08.05.2022 - ООО «</a:t>
            </a:r>
            <a:r>
              <a:rPr lang="ru-RU" sz="1600" b="0" dirty="0" err="1"/>
              <a:t>Техногазсервис</a:t>
            </a:r>
            <a:r>
              <a:rPr lang="ru-RU" sz="1600" b="0" dirty="0"/>
              <a:t>» на ОПО «станция газозаправочная автомобильная» (Алтайский край, г. Новоалтайск) произошло воспламенение газовой смеси с </a:t>
            </a:r>
            <a:r>
              <a:rPr lang="ru-RU" sz="1600" b="0" dirty="0" smtClean="0"/>
              <a:t>последующим </a:t>
            </a:r>
            <a:r>
              <a:rPr lang="ru-RU" sz="1600" b="0" dirty="0"/>
              <a:t>взрывом газовых баллонов - 1 смертельный. </a:t>
            </a:r>
            <a:endParaRPr lang="ru-RU" sz="1600" b="0" dirty="0" smtClean="0"/>
          </a:p>
          <a:p>
            <a:endParaRPr lang="ru-RU" sz="1600" b="0" dirty="0"/>
          </a:p>
          <a:p>
            <a:r>
              <a:rPr lang="ru-RU" sz="1600" b="0" dirty="0"/>
              <a:t>Групповые случаи за 6 месяцев  2022 г.:  Не </a:t>
            </a:r>
            <a:r>
              <a:rPr lang="ru-RU" sz="1600" b="0" dirty="0" smtClean="0"/>
              <a:t>зарегистрированы.</a:t>
            </a:r>
            <a:endParaRPr lang="ru-RU" sz="1600" b="0" dirty="0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064568" y="4293096"/>
            <a:ext cx="7704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299468" y="4622206"/>
            <a:ext cx="66058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 err="1" smtClean="0">
                <a:solidFill>
                  <a:schemeClr val="accent1">
                    <a:lumMod val="75000"/>
                  </a:schemeClr>
                </a:solidFill>
              </a:rPr>
              <a:t>Справочно</a:t>
            </a: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:</a:t>
            </a:r>
          </a:p>
          <a:p>
            <a:endParaRPr lang="ru-RU" sz="18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 6 месяцев 2021 года допущено 10 смертельных несчастных случаев, 7 аварий, 5 групповых случаев.</a:t>
            </a:r>
            <a:endParaRPr lang="ru-RU" sz="1800" b="0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33859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Кнопка">
  <a:themeElements>
    <a:clrScheme name="Кнопка">
      <a:dk1>
        <a:sysClr val="windowText" lastClr="000000"/>
      </a:dk1>
      <a:lt1>
        <a:sysClr val="window" lastClr="FFFFFF"/>
      </a:lt1>
      <a:dk2>
        <a:srgbClr val="465E9C"/>
      </a:dk2>
      <a:lt2>
        <a:srgbClr val="CCDDEA"/>
      </a:lt2>
      <a:accent1>
        <a:srgbClr val="FDA023"/>
      </a:accent1>
      <a:accent2>
        <a:srgbClr val="AA2B1E"/>
      </a:accent2>
      <a:accent3>
        <a:srgbClr val="71685C"/>
      </a:accent3>
      <a:accent4>
        <a:srgbClr val="64A73B"/>
      </a:accent4>
      <a:accent5>
        <a:srgbClr val="EB5605"/>
      </a:accent5>
      <a:accent6>
        <a:srgbClr val="B9CA1A"/>
      </a:accent6>
      <a:hlink>
        <a:srgbClr val="D83E2C"/>
      </a:hlink>
      <a:folHlink>
        <a:srgbClr val="ED7D27"/>
      </a:folHlink>
    </a:clrScheme>
    <a:fontScheme name="Кнопка">
      <a:majorFont>
        <a:latin typeface="Constantia"/>
        <a:ea typeface=""/>
        <a:cs typeface=""/>
        <a:font script="Jpan" typeface="HGS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Grek" typeface="Arial"/>
        <a:font script="Cyrl" typeface="Arial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нопк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>
            <a:tint val="93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satMod val="140000"/>
                <a:lumMod val="50000"/>
              </a:schemeClr>
              <a:schemeClr val="phClr">
                <a:tint val="95000"/>
                <a:satMod val="180000"/>
                <a:lumMod val="160000"/>
              </a:schemeClr>
            </a:duotone>
          </a:blip>
          <a:stretch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  <a:shade val="90000"/>
                <a:satMod val="120000"/>
                <a:lumMod val="54000"/>
              </a:schemeClr>
              <a:schemeClr val="phClr">
                <a:tint val="80000"/>
                <a:satMod val="160000"/>
                <a:lumMod val="14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ushpin</Template>
  <TotalTime>20597</TotalTime>
  <Words>1128</Words>
  <Application>Microsoft Office PowerPoint</Application>
  <PresentationFormat>Лист A4 (210x297 мм)</PresentationFormat>
  <Paragraphs>449</Paragraphs>
  <Slides>11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Кнопка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Дерксен Ольга Дмитриевна</cp:lastModifiedBy>
  <cp:revision>1206</cp:revision>
  <cp:lastPrinted>2020-12-16T06:16:08Z</cp:lastPrinted>
  <dcterms:created xsi:type="dcterms:W3CDTF">2012-04-16T06:44:06Z</dcterms:created>
  <dcterms:modified xsi:type="dcterms:W3CDTF">2022-08-17T08:55:26Z</dcterms:modified>
</cp:coreProperties>
</file>